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43" d="100"/>
          <a:sy n="143" d="100"/>
        </p:scale>
        <p:origin x="126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Thomas Barnekow</cp:lastModifiedBy>
  <cp:revision>3</cp:revision>
  <dcterms:created xsi:type="dcterms:W3CDTF">2021-12-15T12:38:22Z</dcterms:created>
  <dcterms:modified xsi:type="dcterms:W3CDTF">2021-12-15T12:40:52Z</dcterms:modified>
</cp:coreProperties>
</file>